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4"/>
    <p:sldMasterId id="2147483678" r:id="rId5"/>
    <p:sldMasterId id="2147483702" r:id="rId6"/>
    <p:sldMasterId id="2147483660" r:id="rId7"/>
  </p:sldMasterIdLst>
  <p:notesMasterIdLst>
    <p:notesMasterId r:id="rId9"/>
  </p:notesMasterIdLst>
  <p:handoutMasterIdLst>
    <p:handoutMasterId r:id="rId10"/>
  </p:handoutMasterIdLst>
  <p:sldIdLst>
    <p:sldId id="2134807088" r:id="rId8"/>
  </p:sldIdLst>
  <p:sldSz cx="9906000" cy="6858000" type="A4"/>
  <p:notesSz cx="9939338" cy="6805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orient="horz" pos="2092" userDrawn="1">
          <p15:clr>
            <a:srgbClr val="A4A3A4"/>
          </p15:clr>
        </p15:guide>
        <p15:guide id="6" pos="3936" userDrawn="1">
          <p15:clr>
            <a:srgbClr val="A4A3A4"/>
          </p15:clr>
        </p15:guide>
        <p15:guide id="7" pos="5978" userDrawn="1">
          <p15:clr>
            <a:srgbClr val="A4A3A4"/>
          </p15:clr>
        </p15:guide>
        <p15:guide id="8" pos="3687" userDrawn="1">
          <p15:clr>
            <a:srgbClr val="A4A3A4"/>
          </p15:clr>
        </p15:guide>
        <p15:guide id="9" pos="3052" userDrawn="1">
          <p15:clr>
            <a:srgbClr val="A4A3A4"/>
          </p15:clr>
        </p15:guide>
        <p15:guide id="10" orient="horz" pos="1706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2" pos="3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05C8CB-EB54-CD76-5506-4CD04C6C4C22}" name="김 동민" initials="동김" userId="S::min9056@withie.co.kr::844e4c5f-951c-485d-9e8b-e9abb8c1b9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E6E"/>
    <a:srgbClr val="FFFFD1"/>
    <a:srgbClr val="D9E1F2"/>
    <a:srgbClr val="FFFEE6"/>
    <a:srgbClr val="4214FE"/>
    <a:srgbClr val="DAEDEF"/>
    <a:srgbClr val="E6E6E6"/>
    <a:srgbClr val="0000FA"/>
    <a:srgbClr val="0000FF"/>
    <a:srgbClr val="E6B5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916" y="60"/>
      </p:cViewPr>
      <p:guideLst>
        <p:guide orient="horz" pos="4065"/>
        <p:guide pos="308"/>
        <p:guide orient="horz" pos="3748"/>
        <p:guide orient="horz" pos="2092"/>
        <p:guide pos="3936"/>
        <p:guide pos="5978"/>
        <p:guide pos="3687"/>
        <p:guide pos="3052"/>
        <p:guide orient="horz" pos="1706"/>
        <p:guide orient="horz" pos="550"/>
        <p:guide pos="3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8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열판매량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A84-4179-8926-906189E8AED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A84-4179-8926-906189E8AED9}"/>
              </c:ext>
            </c:extLst>
          </c:dPt>
          <c:dLbls>
            <c:dLbl>
              <c:idx val="1"/>
              <c:numFmt formatCode="#,##0_);[Red]\(#,##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0000FF"/>
                      </a:solidFill>
                      <a:latin typeface="나눔고딕" panose="020D0604000000000000" pitchFamily="50" charset="-127"/>
                      <a:ea typeface="나눔고딕" panose="020D0604000000000000" pitchFamily="50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00FF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4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60</c:v>
                </c:pt>
                <c:pt idx="1">
                  <c:v>11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60E-4BCA-A5FC-C4FAF9C591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수열량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00FF"/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4년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44</c:v>
                </c:pt>
                <c:pt idx="1">
                  <c:v>5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0E-4BCA-A5FC-C4FAF9C59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0"/>
        <c:overlap val="-40"/>
        <c:axId val="210985760"/>
        <c:axId val="210987872"/>
      </c:barChart>
      <c:catAx>
        <c:axId val="210985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210987872"/>
        <c:crosses val="autoZero"/>
        <c:auto val="1"/>
        <c:lblAlgn val="ctr"/>
        <c:lblOffset val="100"/>
        <c:noMultiLvlLbl val="0"/>
      </c:catAx>
      <c:valAx>
        <c:axId val="210987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098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632042769126312"/>
          <c:y val="1.1950042088301747E-2"/>
          <c:w val="0.5858285016458179"/>
          <c:h val="9.35278708302198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6350"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30285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8F445-EC1A-4A49-ADBB-B8D9BD6A9271}" type="datetimeFigureOut">
              <a:rPr lang="ko-KR" altLang="en-US" smtClean="0"/>
              <a:t>2024-05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30285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9F761-135D-4538-A77F-CDF2FC910A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81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3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10041-3460-4F6A-A7EF-F01620F6C00E}" type="datetimeFigureOut">
              <a:rPr lang="ko-KR" altLang="en-US" smtClean="0"/>
              <a:t>2024-05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9938" y="850900"/>
            <a:ext cx="3319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75202"/>
            <a:ext cx="7951470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3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093AC-2C16-4D3F-98A8-DB8AD506064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87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4" userDrawn="1">
          <p15:clr>
            <a:srgbClr val="F26B43"/>
          </p15:clr>
        </p15:guide>
        <p15:guide id="2" pos="313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4808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8412906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30989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3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37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9525" y="6492875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17179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01237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28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6465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7530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0530" y="785794"/>
            <a:ext cx="9402134" cy="571504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3098792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2649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29904" y="1628800"/>
            <a:ext cx="6913563" cy="1224137"/>
          </a:xfrm>
        </p:spPr>
        <p:txBody>
          <a:bodyPr wrap="square" tIns="72000" bIns="72000" anchor="t"/>
          <a:lstStyle>
            <a:lvl1pPr>
              <a:defRPr sz="2742"/>
            </a:lvl1pPr>
          </a:lstStyle>
          <a:p>
            <a:r>
              <a:rPr lang="ko-KR" altLang="en-US"/>
              <a:t>마스터 제목 스타일 편집</a:t>
            </a: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39656224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95766442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6965454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09208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xmlns="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907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xmlns="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4406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장">
    <p:bg>
      <p:bgPr>
        <a:solidFill>
          <a:sysClr val="window" lastClr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슬라이드 번호 개체 틀 5">
            <a:extLst>
              <a:ext uri="{FF2B5EF4-FFF2-40B4-BE49-F238E27FC236}">
                <a16:creationId xmlns:a16="http://schemas.microsoft.com/office/drawing/2014/main" xmlns="" id="{F2945E8C-E849-4D43-B443-030704E7F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8273" y="6424535"/>
            <a:ext cx="202406" cy="19421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554">
                <a:latin typeface="Noto Sans CJK KR Medium" panose="020B0600000000000000" pitchFamily="34" charset="-127"/>
                <a:ea typeface="Noto Sans CJK KR Medium" panose="020B0600000000000000" pitchFamily="34" charset="-127"/>
              </a:defRPr>
            </a:lvl1pPr>
          </a:lstStyle>
          <a:p>
            <a:fld id="{EE46CB3B-22D4-45B7-ACB3-C65C57F3601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70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theme" Target="../theme/theme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10" Type="http://schemas.openxmlformats.org/officeDocument/2006/relationships/image" Target="../media/image4.emf"/><Relationship Id="rId4" Type="http://schemas.openxmlformats.org/officeDocument/2006/relationships/vmlDrawing" Target="../drawings/vmlDrawing1.v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xmlns="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1" name="슬라이드 번호 개체 틀 4">
            <a:extLst>
              <a:ext uri="{FF2B5EF4-FFF2-40B4-BE49-F238E27FC236}">
                <a16:creationId xmlns:a16="http://schemas.microsoft.com/office/drawing/2014/main" xmlns="" id="{AE7D71FA-4DC5-4091-B015-30896BBE8645}"/>
              </a:ext>
            </a:extLst>
          </p:cNvPr>
          <p:cNvSpPr txBox="1">
            <a:spLocks/>
          </p:cNvSpPr>
          <p:nvPr userDrawn="1"/>
        </p:nvSpPr>
        <p:spPr>
          <a:xfrm>
            <a:off x="9072282" y="6571332"/>
            <a:ext cx="787448" cy="243182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fld id="{8E853F99-DCCA-4EE7-BBFF-101EC0F0C472}" type="slidenum">
              <a:rPr lang="ko-KR" altLang="en-US" sz="8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pPr algn="r">
                <a:defRPr/>
              </a:pPr>
              <a:t>‹#›</a:t>
            </a:fld>
            <a:r>
              <a:rPr lang="ko-KR" altLang="en-US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11</a:t>
            </a:r>
            <a:endParaRPr lang="ko-KR" altLang="en-US" sz="8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0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3" r:id="rId3"/>
    <p:sldLayoutId id="2147483674" r:id="rId4"/>
    <p:sldLayoutId id="2147483675" r:id="rId5"/>
    <p:sldLayoutId id="2147483677" r:id="rId6"/>
    <p:sldLayoutId id="2147483686" r:id="rId7"/>
    <p:sldLayoutId id="2147483687" r:id="rId8"/>
    <p:sldLayoutId id="2147483688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xmlns="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2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00" r:id="rId2"/>
    <p:sldLayoutId id="2147483680" r:id="rId3"/>
    <p:sldLayoutId id="2147483701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3419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291862" y="836712"/>
            <a:ext cx="9341658" cy="561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941" y="6534150"/>
            <a:ext cx="2988666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lang="en-US" sz="70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8"/>
            </p:custDataLst>
          </p:nvPr>
        </p:nvSpPr>
        <p:spPr bwMode="gray">
          <a:xfrm>
            <a:off x="4397052" y="6532791"/>
            <a:ext cx="111358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fontAlgn="base" latinLnBrk="0">
              <a:spcAft>
                <a:spcPct val="0"/>
              </a:spcAft>
            </a:pPr>
            <a:endParaRPr lang="en-US"/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71497" y="610551"/>
            <a:ext cx="9362023" cy="0"/>
          </a:xfrm>
          <a:prstGeom prst="lin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38100">
                <a:solidFill>
                  <a:schemeClr val="tx1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제목 개체 틀 2"/>
          <p:cNvSpPr>
            <a:spLocks noGrp="1"/>
          </p:cNvSpPr>
          <p:nvPr>
            <p:ph type="title"/>
          </p:nvPr>
        </p:nvSpPr>
        <p:spPr>
          <a:xfrm>
            <a:off x="290169" y="152064"/>
            <a:ext cx="8543925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9444928" y="6597352"/>
            <a:ext cx="428650" cy="234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CB0F92F-3965-4F34-B7FF-419C6FA1D5A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1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</p:sldLayoutIdLs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Y견고딕" panose="02030600000101010101" pitchFamily="18" charset="-127"/>
          <a:ea typeface="HY견고딕" panose="02030600000101010101" pitchFamily="18" charset="-127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65113" indent="-26511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맑은 고딕" panose="020B0503020000020004" pitchFamily="50" charset="-127"/>
        <a:buChar char="▣"/>
        <a:defRPr sz="1400" b="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539750" indent="-2587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l"/>
        <a:defRPr sz="1400">
          <a:solidFill>
            <a:schemeClr val="tx1"/>
          </a:solidFill>
          <a:latin typeface="+mn-lt"/>
          <a:cs typeface="+mn-cs"/>
          <a:sym typeface="Arial"/>
        </a:defRPr>
      </a:lvl2pPr>
      <a:lvl3pPr marL="712788" indent="-171450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  <a:sym typeface="Arial"/>
        </a:defRPr>
      </a:lvl3pPr>
      <a:lvl4pPr marL="987425" indent="-1825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  <a:sym typeface="Arial"/>
        </a:defRPr>
      </a:lvl4pPr>
      <a:lvl5pPr marL="1162050" indent="-173038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300" y="785794"/>
            <a:ext cx="9402134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슬라이드 번호 개체 틀 4"/>
          <p:cNvSpPr txBox="1">
            <a:spLocks/>
          </p:cNvSpPr>
          <p:nvPr userDrawn="1"/>
        </p:nvSpPr>
        <p:spPr>
          <a:xfrm>
            <a:off x="9129464" y="6597354"/>
            <a:ext cx="704528" cy="236821"/>
          </a:xfrm>
          <a:prstGeom prst="rect">
            <a:avLst/>
          </a:prstGeom>
        </p:spPr>
        <p:txBody>
          <a:bodyPr lIns="32659" tIns="32659" rIns="32659" bIns="32659"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endParaRPr lang="ko-KR" altLang="en-US" sz="907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16189" y="610551"/>
            <a:ext cx="9430245" cy="0"/>
          </a:xfrm>
          <a:prstGeom prst="line">
            <a:avLst/>
          </a:prstGeom>
          <a:noFill/>
          <a:ln w="190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0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</p:sldLayoutIdLst>
  <p:transition/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177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5pPr>
      <a:lvl6pPr marL="414772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6pPr>
      <a:lvl7pPr marL="829544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7pPr>
      <a:lvl8pPr marL="1244316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8pPr>
      <a:lvl9pPr marL="1659087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9pPr>
    </p:titleStyle>
    <p:bodyStyle>
      <a:lvl1pPr marL="249152" indent="-249152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q"/>
        <a:defRPr kumimoji="1" sz="127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567431" indent="-239070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l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81514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§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05565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Char char="•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1304803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2176112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6pPr>
      <a:lvl7pPr marL="2590884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7pPr>
      <a:lvl8pPr marL="3005656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8pPr>
      <a:lvl9pPr marL="3420428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:a16="http://schemas.microsoft.com/office/drawing/2014/main" xmlns="" id="{AB08AD98-79DF-468E-9B34-A36ED3250F3C}"/>
              </a:ext>
            </a:extLst>
          </p:cNvPr>
          <p:cNvSpPr/>
          <p:nvPr/>
        </p:nvSpPr>
        <p:spPr>
          <a:xfrm>
            <a:off x="488515" y="247550"/>
            <a:ext cx="5144534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쟁력 있는 열원 확보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xmlns="" id="{1903AE91-03CD-42E1-98AF-A9C43BFE64F1}"/>
              </a:ext>
            </a:extLst>
          </p:cNvPr>
          <p:cNvSpPr/>
          <p:nvPr/>
        </p:nvSpPr>
        <p:spPr>
          <a:xfrm>
            <a:off x="555149" y="850704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648944" y="850704"/>
            <a:ext cx="1848583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미활용</a:t>
            </a:r>
            <a:r>
              <a:rPr lang="ko-KR" altLang="en-US" sz="14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 저가 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원 개발</a:t>
            </a:r>
            <a:endParaRPr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435763" y="1235909"/>
            <a:ext cx="6069472" cy="3126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10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저가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열원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 추가 확보 및 열 생산원가 절감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3200FF"/>
                </a:solidFill>
                <a:latin typeface="나눔고딕"/>
                <a:ea typeface="나눔고딕"/>
                <a:cs typeface="Arial"/>
              </a:rPr>
              <a:t> </a:t>
            </a:r>
            <a:endParaRPr lang="en-US" altLang="ko-KR"/>
          </a:p>
        </p:txBody>
      </p:sp>
      <p:cxnSp>
        <p:nvCxnSpPr>
          <p:cNvPr id="83" name="직선 연결선 82"/>
          <p:cNvCxnSpPr/>
          <p:nvPr/>
        </p:nvCxnSpPr>
        <p:spPr>
          <a:xfrm>
            <a:off x="581130" y="1171758"/>
            <a:ext cx="2078936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화살표: 갈매기형 수장 92">
            <a:extLst>
              <a:ext uri="{FF2B5EF4-FFF2-40B4-BE49-F238E27FC236}">
                <a16:creationId xmlns:a16="http://schemas.microsoft.com/office/drawing/2014/main" xmlns="" id="{6C93FBEA-3FFB-F5BD-57E1-70B07F22735E}"/>
              </a:ext>
            </a:extLst>
          </p:cNvPr>
          <p:cNvSpPr/>
          <p:nvPr/>
        </p:nvSpPr>
        <p:spPr>
          <a:xfrm>
            <a:off x="3325218" y="2527611"/>
            <a:ext cx="309377" cy="411059"/>
          </a:xfrm>
          <a:prstGeom prst="chevron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+mn-cs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1903AE91-03CD-42E1-98AF-A9C43BFE64F1}"/>
              </a:ext>
            </a:extLst>
          </p:cNvPr>
          <p:cNvSpPr/>
          <p:nvPr/>
        </p:nvSpPr>
        <p:spPr>
          <a:xfrm>
            <a:off x="557985" y="3806037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562480" y="4129074"/>
            <a:ext cx="1889942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직사각형 28"/>
          <p:cNvSpPr/>
          <p:nvPr/>
        </p:nvSpPr>
        <p:spPr>
          <a:xfrm>
            <a:off x="648944" y="3806037"/>
            <a:ext cx="16305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신규열원 건설 추진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35763" y="4185308"/>
            <a:ext cx="7181772" cy="57054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공급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세대 및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형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요처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증가로 열수요 증가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9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년부터 열 부족 발생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최대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56G/h)</a:t>
            </a:r>
            <a:endParaRPr lang="en-US"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열공급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부족을 해소하기 위해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500MW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급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260G/h)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신규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CHP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설 추진</a:t>
            </a:r>
            <a:endParaRPr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6" name="사각형: 둥근 모서리 59">
            <a:extLst>
              <a:ext uri="{FF2B5EF4-FFF2-40B4-BE49-F238E27FC236}">
                <a16:creationId xmlns:a16="http://schemas.microsoft.com/office/drawing/2014/main" xmlns="" id="{61D141F6-4CC5-DB84-1F84-161EB2A117F8}"/>
              </a:ext>
            </a:extLst>
          </p:cNvPr>
          <p:cNvSpPr/>
          <p:nvPr/>
        </p:nvSpPr>
        <p:spPr>
          <a:xfrm>
            <a:off x="7949841" y="5551759"/>
            <a:ext cx="54805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준공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xmlns="" id="{9AB29775-41D7-815B-7E6D-EC44DD2861EA}"/>
              </a:ext>
            </a:extLst>
          </p:cNvPr>
          <p:cNvCxnSpPr>
            <a:cxnSpLocks/>
          </p:cNvCxnSpPr>
          <p:nvPr/>
        </p:nvCxnSpPr>
        <p:spPr>
          <a:xfrm flipH="1">
            <a:off x="1127469" y="5374194"/>
            <a:ext cx="7191636" cy="0"/>
          </a:xfrm>
          <a:prstGeom prst="line">
            <a:avLst/>
          </a:prstGeom>
          <a:noFill/>
          <a:ln w="57150" cap="flat" cmpd="sng" algn="ctr">
            <a:solidFill>
              <a:srgbClr val="FFFFFF">
                <a:lumMod val="65000"/>
              </a:srgb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44" name="사각형: 둥근 모서리 59">
            <a:extLst>
              <a:ext uri="{FF2B5EF4-FFF2-40B4-BE49-F238E27FC236}">
                <a16:creationId xmlns:a16="http://schemas.microsoft.com/office/drawing/2014/main" xmlns="" id="{7EA3310D-1D89-3515-EA93-1A46019E2959}"/>
              </a:ext>
            </a:extLst>
          </p:cNvPr>
          <p:cNvSpPr/>
          <p:nvPr/>
        </p:nvSpPr>
        <p:spPr>
          <a:xfrm>
            <a:off x="6788757" y="5534902"/>
            <a:ext cx="548057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착공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5" name="사각형: 둥근 모서리 59">
            <a:extLst>
              <a:ext uri="{FF2B5EF4-FFF2-40B4-BE49-F238E27FC236}">
                <a16:creationId xmlns:a16="http://schemas.microsoft.com/office/drawing/2014/main" xmlns="" id="{6ACF1367-9E1D-CC09-180A-E77AD2623B83}"/>
              </a:ext>
            </a:extLst>
          </p:cNvPr>
          <p:cNvSpPr/>
          <p:nvPr/>
        </p:nvSpPr>
        <p:spPr>
          <a:xfrm>
            <a:off x="5441769" y="5551759"/>
            <a:ext cx="735096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투자 승인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6" name="사각형: 둥근 모서리 59">
            <a:extLst>
              <a:ext uri="{FF2B5EF4-FFF2-40B4-BE49-F238E27FC236}">
                <a16:creationId xmlns:a16="http://schemas.microsoft.com/office/drawing/2014/main" xmlns="" id="{0B3D23DE-578C-A865-F02F-0EA43D20DFD2}"/>
              </a:ext>
            </a:extLst>
          </p:cNvPr>
          <p:cNvSpPr/>
          <p:nvPr/>
        </p:nvSpPr>
        <p:spPr>
          <a:xfrm>
            <a:off x="3551981" y="5494313"/>
            <a:ext cx="1818384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열원부지 확보</a:t>
            </a:r>
            <a:r>
              <a:rPr lang="ko-KR" altLang="en-US" sz="1000">
                <a:solidFill>
                  <a:srgbClr val="000000"/>
                </a:solidFill>
                <a:latin typeface="나눔고딕"/>
                <a:ea typeface="나눔고딕"/>
              </a:rPr>
              <a:t>/ 사업허가 추진</a:t>
            </a:r>
            <a:endParaRPr lang="en-US" altLang="ko-KR" sz="1000">
              <a:solidFill>
                <a:srgbClr val="000000"/>
              </a:solidFill>
              <a:latin typeface="나눔고딕"/>
              <a:ea typeface="나눔고딕"/>
            </a:endParaRPr>
          </a:p>
          <a:p>
            <a:pPr algn="ctr">
              <a:defRPr/>
            </a:pPr>
            <a:r>
              <a:rPr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rPr>
              <a:t>주민수용성 확보</a:t>
            </a:r>
            <a:endParaRPr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48" name="그룹 47">
            <a:extLst>
              <a:ext uri="{FF2B5EF4-FFF2-40B4-BE49-F238E27FC236}">
                <a16:creationId xmlns:a16="http://schemas.microsoft.com/office/drawing/2014/main" xmlns="" id="{A9307D15-5369-ED4C-267F-8B22C2D98FF2}"/>
              </a:ext>
            </a:extLst>
          </p:cNvPr>
          <p:cNvGrpSpPr/>
          <p:nvPr/>
        </p:nvGrpSpPr>
        <p:grpSpPr>
          <a:xfrm>
            <a:off x="926149" y="5190011"/>
            <a:ext cx="548056" cy="368365"/>
            <a:chOff x="1685284" y="5352442"/>
            <a:chExt cx="513028" cy="368365"/>
          </a:xfrm>
        </p:grpSpPr>
        <p:sp>
          <p:nvSpPr>
            <p:cNvPr id="49" name="순서도: 연결자 48">
              <a:extLst>
                <a:ext uri="{FF2B5EF4-FFF2-40B4-BE49-F238E27FC236}">
                  <a16:creationId xmlns:a16="http://schemas.microsoft.com/office/drawing/2014/main" xmlns="" id="{B25BB69A-49B9-9DD7-C3A9-FED047F0B105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FAE5926A-693C-6466-B736-F870A2789CE8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3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xmlns="" id="{ECF7A905-37BE-DD8B-A1C8-214F91C3386A}"/>
              </a:ext>
            </a:extLst>
          </p:cNvPr>
          <p:cNvGrpSpPr/>
          <p:nvPr/>
        </p:nvGrpSpPr>
        <p:grpSpPr>
          <a:xfrm>
            <a:off x="2905865" y="5190011"/>
            <a:ext cx="548056" cy="368365"/>
            <a:chOff x="1685284" y="5352442"/>
            <a:chExt cx="513028" cy="368365"/>
          </a:xfrm>
        </p:grpSpPr>
        <p:sp>
          <p:nvSpPr>
            <p:cNvPr id="52" name="순서도: 연결자 51">
              <a:extLst>
                <a:ext uri="{FF2B5EF4-FFF2-40B4-BE49-F238E27FC236}">
                  <a16:creationId xmlns:a16="http://schemas.microsoft.com/office/drawing/2014/main" xmlns="" id="{C4DFB18F-592B-5329-BA0B-CB68D45E10B3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6C87521D-F8CA-3E42-21AB-C0D0D9BA85EC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4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xmlns="" id="{D48FBB73-F159-4639-C27E-45611DDA4903}"/>
              </a:ext>
            </a:extLst>
          </p:cNvPr>
          <p:cNvGrpSpPr/>
          <p:nvPr/>
        </p:nvGrpSpPr>
        <p:grpSpPr>
          <a:xfrm>
            <a:off x="5549520" y="5190011"/>
            <a:ext cx="548056" cy="368365"/>
            <a:chOff x="1685284" y="5352442"/>
            <a:chExt cx="513028" cy="368365"/>
          </a:xfrm>
        </p:grpSpPr>
        <p:sp>
          <p:nvSpPr>
            <p:cNvPr id="56" name="순서도: 연결자 55">
              <a:extLst>
                <a:ext uri="{FF2B5EF4-FFF2-40B4-BE49-F238E27FC236}">
                  <a16:creationId xmlns:a16="http://schemas.microsoft.com/office/drawing/2014/main" xmlns="" id="{7A76FDF0-912B-E6B2-32B2-C9E7BBD0BBD4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998763DF-095D-2909-BCAF-9A433E5EC307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5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59" name="그룹 58">
            <a:extLst>
              <a:ext uri="{FF2B5EF4-FFF2-40B4-BE49-F238E27FC236}">
                <a16:creationId xmlns:a16="http://schemas.microsoft.com/office/drawing/2014/main" xmlns="" id="{5332357F-DE02-777C-DC21-7817B31C385C}"/>
              </a:ext>
            </a:extLst>
          </p:cNvPr>
          <p:cNvGrpSpPr/>
          <p:nvPr/>
        </p:nvGrpSpPr>
        <p:grpSpPr>
          <a:xfrm>
            <a:off x="6747103" y="5190011"/>
            <a:ext cx="548056" cy="368365"/>
            <a:chOff x="1685284" y="5352442"/>
            <a:chExt cx="513028" cy="368365"/>
          </a:xfrm>
        </p:grpSpPr>
        <p:sp>
          <p:nvSpPr>
            <p:cNvPr id="60" name="순서도: 연결자 59">
              <a:extLst>
                <a:ext uri="{FF2B5EF4-FFF2-40B4-BE49-F238E27FC236}">
                  <a16:creationId xmlns:a16="http://schemas.microsoft.com/office/drawing/2014/main" xmlns="" id="{B7A322D6-0829-A55D-B7CB-5DA72C6EFACE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xmlns="" id="{D614A9C6-18F7-3B0C-783A-088F64339BFE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2026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grpSp>
        <p:nvGrpSpPr>
          <p:cNvPr id="62" name="그룹 61">
            <a:extLst>
              <a:ext uri="{FF2B5EF4-FFF2-40B4-BE49-F238E27FC236}">
                <a16:creationId xmlns:a16="http://schemas.microsoft.com/office/drawing/2014/main" xmlns="" id="{9A0C7012-2272-4E25-14D5-037B7C7A11F5}"/>
              </a:ext>
            </a:extLst>
          </p:cNvPr>
          <p:cNvGrpSpPr/>
          <p:nvPr/>
        </p:nvGrpSpPr>
        <p:grpSpPr>
          <a:xfrm>
            <a:off x="7944686" y="5190011"/>
            <a:ext cx="548056" cy="368365"/>
            <a:chOff x="1685284" y="5352442"/>
            <a:chExt cx="513028" cy="368365"/>
          </a:xfrm>
        </p:grpSpPr>
        <p:sp>
          <p:nvSpPr>
            <p:cNvPr id="63" name="순서도: 연결자 62">
              <a:extLst>
                <a:ext uri="{FF2B5EF4-FFF2-40B4-BE49-F238E27FC236}">
                  <a16:creationId xmlns:a16="http://schemas.microsoft.com/office/drawing/2014/main" xmlns="" id="{CBD10DB4-95CD-E3D2-4A3E-44C225F6C70B}"/>
                </a:ext>
              </a:extLst>
            </p:cNvPr>
            <p:cNvSpPr/>
            <p:nvPr/>
          </p:nvSpPr>
          <p:spPr>
            <a:xfrm>
              <a:off x="1720228" y="5352442"/>
              <a:ext cx="430816" cy="368365"/>
            </a:xfrm>
            <a:prstGeom prst="flowChartConnector">
              <a:avLst/>
            </a:prstGeom>
            <a:solidFill>
              <a:srgbClr val="FFFFFF"/>
            </a:solidFill>
            <a:ln w="38100" cap="flat" cmpd="sng" algn="ctr">
              <a:solidFill>
                <a:srgbClr val="0D6E6E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6CD10375-22C9-0204-5749-6C7912DBFCE6}"/>
                </a:ext>
              </a:extLst>
            </p:cNvPr>
            <p:cNvSpPr txBox="1"/>
            <p:nvPr/>
          </p:nvSpPr>
          <p:spPr>
            <a:xfrm>
              <a:off x="1685284" y="5416507"/>
              <a:ext cx="513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rPr>
                <a:t>2029</a:t>
              </a:r>
              <a:endPara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</p:grpSp>
      <p:sp>
        <p:nvSpPr>
          <p:cNvPr id="68" name="사각형: 둥근 모서리 59">
            <a:extLst>
              <a:ext uri="{FF2B5EF4-FFF2-40B4-BE49-F238E27FC236}">
                <a16:creationId xmlns:a16="http://schemas.microsoft.com/office/drawing/2014/main" xmlns="" id="{C2F0DEB2-8ADE-69D2-D0EC-8FE3F82BB965}"/>
              </a:ext>
            </a:extLst>
          </p:cNvPr>
          <p:cNvSpPr/>
          <p:nvPr/>
        </p:nvSpPr>
        <p:spPr>
          <a:xfrm>
            <a:off x="1504709" y="5417035"/>
            <a:ext cx="1240865" cy="401980"/>
          </a:xfrm>
          <a:prstGeom prst="roundRect">
            <a:avLst>
              <a:gd name="adj" fmla="val 1096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업타당성 검토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3" name="그룹 6">
            <a:extLst>
              <a:ext uri="{FF2B5EF4-FFF2-40B4-BE49-F238E27FC236}">
                <a16:creationId xmlns:a16="http://schemas.microsoft.com/office/drawing/2014/main" xmlns="" id="{770409EF-A262-1427-94A9-746C86BE475A}"/>
              </a:ext>
            </a:extLst>
          </p:cNvPr>
          <p:cNvGrpSpPr/>
          <p:nvPr/>
        </p:nvGrpSpPr>
        <p:grpSpPr>
          <a:xfrm>
            <a:off x="3814189" y="1687310"/>
            <a:ext cx="3115317" cy="1772117"/>
            <a:chOff x="618451" y="1750091"/>
            <a:chExt cx="3115317" cy="1772117"/>
          </a:xfrm>
        </p:grpSpPr>
        <p:sp>
          <p:nvSpPr>
            <p:cNvPr id="4" name="직사각형 57">
              <a:extLst>
                <a:ext uri="{FF2B5EF4-FFF2-40B4-BE49-F238E27FC236}">
                  <a16:creationId xmlns:a16="http://schemas.microsoft.com/office/drawing/2014/main" xmlns="" id="{33E72A15-028B-78C3-A12C-66AE5BB93FEC}"/>
                </a:ext>
              </a:extLst>
            </p:cNvPr>
            <p:cNvSpPr/>
            <p:nvPr/>
          </p:nvSpPr>
          <p:spPr>
            <a:xfrm>
              <a:off x="618451" y="1924336"/>
              <a:ext cx="2934015" cy="1597872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8" name="모서리가 둥근 직사각형 54">
              <a:hlinkClick r:id="" action="ppaction://noaction"/>
              <a:extLst>
                <a:ext uri="{FF2B5EF4-FFF2-40B4-BE49-F238E27FC236}">
                  <a16:creationId xmlns:a16="http://schemas.microsoft.com/office/drawing/2014/main" xmlns="" id="{16DF930D-52DF-3573-1CF7-48233D713F82}"/>
                </a:ext>
              </a:extLst>
            </p:cNvPr>
            <p:cNvSpPr/>
            <p:nvPr/>
          </p:nvSpPr>
          <p:spPr>
            <a:xfrm>
              <a:off x="1154865" y="1750091"/>
              <a:ext cx="1861186" cy="266397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잠재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미활용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열원 지속 개발</a:t>
              </a:r>
            </a:p>
          </p:txBody>
        </p:sp>
        <p:sp>
          <p:nvSpPr>
            <p:cNvPr id="9" name="사각형: 둥근 모서리 59">
              <a:extLst>
                <a:ext uri="{FF2B5EF4-FFF2-40B4-BE49-F238E27FC236}">
                  <a16:creationId xmlns:a16="http://schemas.microsoft.com/office/drawing/2014/main" xmlns="" id="{7C3E508D-73FE-98A6-D5BF-C04C26E3271A}"/>
                </a:ext>
              </a:extLst>
            </p:cNvPr>
            <p:cNvSpPr/>
            <p:nvPr/>
          </p:nvSpPr>
          <p:spPr>
            <a:xfrm>
              <a:off x="632063" y="1999370"/>
              <a:ext cx="3101705" cy="1416997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소각장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R="0" lvl="0" algn="l" defTabSz="180975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	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송도 소각장 및 기타 소각장 연계 방안 검토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연료전지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defTabSz="180975">
                <a:lnSpc>
                  <a:spcPct val="170000"/>
                </a:lnSpc>
                <a:tabLst>
                  <a:tab pos="180975" algn="l"/>
                </a:tabLst>
                <a:defRPr/>
              </a:pP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	- </a:t>
              </a:r>
              <a:r>
                <a:rPr lang="ko-KR" altLang="en-US" sz="1050" b="1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위드인천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E </a:t>
              </a:r>
              <a:r>
                <a:rPr lang="ko-KR" altLang="en-US" sz="1050" b="1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부지내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 </a:t>
              </a:r>
              <a:r>
                <a:rPr lang="ko-KR" altLang="en-US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연료전지 도입 검토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/>
              </a:r>
              <a:b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</a:b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	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 </a:t>
              </a:r>
              <a:r>
                <a:rPr kumimoji="0" lang="ko-KR" altLang="en-US" sz="1050" b="1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북항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 연료전지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grpSp>
        <p:nvGrpSpPr>
          <p:cNvPr id="10" name="그룹 4">
            <a:extLst>
              <a:ext uri="{FF2B5EF4-FFF2-40B4-BE49-F238E27FC236}">
                <a16:creationId xmlns:a16="http://schemas.microsoft.com/office/drawing/2014/main" xmlns="" id="{DC1CD559-36B2-AD27-EA4A-C79E288C31A7}"/>
              </a:ext>
            </a:extLst>
          </p:cNvPr>
          <p:cNvGrpSpPr/>
          <p:nvPr/>
        </p:nvGrpSpPr>
        <p:grpSpPr>
          <a:xfrm>
            <a:off x="796863" y="1687310"/>
            <a:ext cx="2456607" cy="1770911"/>
            <a:chOff x="4355633" y="1751296"/>
            <a:chExt cx="2456607" cy="1770911"/>
          </a:xfrm>
        </p:grpSpPr>
        <p:sp>
          <p:nvSpPr>
            <p:cNvPr id="11" name="직사각형 132">
              <a:extLst>
                <a:ext uri="{FF2B5EF4-FFF2-40B4-BE49-F238E27FC236}">
                  <a16:creationId xmlns:a16="http://schemas.microsoft.com/office/drawing/2014/main" xmlns="" id="{690E8BC1-5740-E26D-FFF0-92B54343A150}"/>
                </a:ext>
              </a:extLst>
            </p:cNvPr>
            <p:cNvSpPr/>
            <p:nvPr/>
          </p:nvSpPr>
          <p:spPr>
            <a:xfrm>
              <a:off x="4355633" y="1944076"/>
              <a:ext cx="2355400" cy="1578131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sp>
          <p:nvSpPr>
            <p:cNvPr id="12" name="모서리가 둥근 직사각형 133">
              <a:hlinkClick r:id="" action="ppaction://noaction"/>
              <a:extLst>
                <a:ext uri="{FF2B5EF4-FFF2-40B4-BE49-F238E27FC236}">
                  <a16:creationId xmlns:a16="http://schemas.microsoft.com/office/drawing/2014/main" xmlns="" id="{7472BD22-D282-BC7D-3222-BA40777EB5E3}"/>
                </a:ext>
              </a:extLst>
            </p:cNvPr>
            <p:cNvSpPr/>
            <p:nvPr/>
          </p:nvSpPr>
          <p:spPr>
            <a:xfrm>
              <a:off x="4629584" y="1751296"/>
              <a:ext cx="1807498" cy="266397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23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년 </a:t>
              </a:r>
              <a:r>
                <a:rPr kumimoji="0" lang="ko-KR" altLang="en-US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미활용</a:t>
              </a: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열원 개발 실적</a:t>
              </a:r>
            </a:p>
          </p:txBody>
        </p:sp>
        <p:sp>
          <p:nvSpPr>
            <p:cNvPr id="13" name="사각형: 둥근 모서리 59">
              <a:extLst>
                <a:ext uri="{FF2B5EF4-FFF2-40B4-BE49-F238E27FC236}">
                  <a16:creationId xmlns:a16="http://schemas.microsoft.com/office/drawing/2014/main" xmlns="" id="{C230E511-E866-B4B2-8772-996FAC1F62FC}"/>
                </a:ext>
              </a:extLst>
            </p:cNvPr>
            <p:cNvSpPr/>
            <p:nvPr/>
          </p:nvSpPr>
          <p:spPr>
            <a:xfrm>
              <a:off x="4366888" y="2000062"/>
              <a:ext cx="2445352" cy="1416997"/>
            </a:xfrm>
            <a:prstGeom prst="roundRect">
              <a:avLst>
                <a:gd name="adj" fmla="val 10966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914400" rtl="0" eaLnBrk="1" fontAlgn="auto" latinLnBrk="1" hangingPunct="1">
                <a:lnSpc>
                  <a:spcPct val="1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도시가스 연료전지 계약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/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(12.5G/h, 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4.4Q)</a:t>
              </a:r>
              <a:endParaRPr kumimoji="0" lang="ko-KR" altLang="en-US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  <a:p>
              <a:pPr marL="171450" lvl="0" indent="-171450">
                <a:lnSpc>
                  <a:spcPct val="170000"/>
                </a:lnSpc>
                <a:buFont typeface="Wingdings" panose="05000000000000000000" pitchFamily="2" charset="2"/>
                <a:buChar char="§"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SK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인천석유화학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/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- 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추가</a:t>
              </a:r>
              <a:r>
                <a:rPr kumimoji="0" lang="ko-KR" altLang="en-US" sz="1050" b="1" i="0" u="none" strike="noStrike" kern="1200" cap="none" spc="0" normalizeH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10G/h (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3.1Q)</a:t>
              </a:r>
              <a:b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</a:b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- </a:t>
              </a:r>
              <a:r>
                <a:rPr lang="ko-KR" altLang="en-US" sz="1050" b="1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청라</a:t>
              </a:r>
              <a:r>
                <a:rPr lang="ko-KR" altLang="en-US" sz="1050" b="1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 연계 물량 </a:t>
              </a:r>
              <a:r>
                <a:rPr lang="en-US" altLang="ko-KR" sz="1050" b="1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25G/h (</a:t>
              </a: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lang="en-US" altLang="ko-KR" sz="1050" b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23.2Q)</a:t>
              </a:r>
              <a:r>
                <a:rPr lang="ko-KR" altLang="en-US" sz="1050" b="1" u="sng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chemeClr val="tx1"/>
                  </a:solidFill>
                  <a:latin typeface="나눔고딕"/>
                  <a:ea typeface="나눔고딕"/>
                  <a:cs typeface="Arial"/>
                </a:rPr>
                <a:t> </a:t>
              </a:r>
              <a:endParaRPr kumimoji="0" lang="en-US" altLang="ko-KR" sz="1050" b="1" i="0" u="sng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graphicFrame>
        <p:nvGraphicFramePr>
          <p:cNvPr id="7" name="차트 6">
            <a:extLst>
              <a:ext uri="{FF2B5EF4-FFF2-40B4-BE49-F238E27FC236}">
                <a16:creationId xmlns:a16="http://schemas.microsoft.com/office/drawing/2014/main" xmlns="" id="{0419ABCD-C78E-6CC7-BB4F-DC309DC39B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6651332"/>
              </p:ext>
            </p:extLst>
          </p:nvPr>
        </p:nvGraphicFramePr>
        <p:xfrm>
          <a:off x="6984379" y="1030406"/>
          <a:ext cx="2359459" cy="2437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0DC2A09-823D-4457-1870-2EE9988B6E9D}"/>
              </a:ext>
            </a:extLst>
          </p:cNvPr>
          <p:cNvSpPr txBox="1"/>
          <p:nvPr/>
        </p:nvSpPr>
        <p:spPr>
          <a:xfrm>
            <a:off x="7587176" y="2313484"/>
            <a:ext cx="541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36%)</a:t>
            </a:r>
            <a:endParaRPr lang="ko-KR" altLang="en-US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82609063-CD80-624B-B3BC-D3EBFE2EA434}"/>
              </a:ext>
            </a:extLst>
          </p:cNvPr>
          <p:cNvSpPr txBox="1"/>
          <p:nvPr/>
        </p:nvSpPr>
        <p:spPr>
          <a:xfrm>
            <a:off x="8628389" y="2081644"/>
            <a:ext cx="5544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47%)</a:t>
            </a:r>
            <a:endParaRPr lang="ko-KR" altLang="en-US" sz="800" b="1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F5AB12F-E78A-33FF-166C-72BACC2F2C2D}"/>
              </a:ext>
            </a:extLst>
          </p:cNvPr>
          <p:cNvSpPr txBox="1"/>
          <p:nvPr/>
        </p:nvSpPr>
        <p:spPr>
          <a:xfrm>
            <a:off x="8556067" y="1256752"/>
            <a:ext cx="8636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800">
                <a:latin typeface="나눔고딕" panose="020D0604000000000000" pitchFamily="50" charset="-127"/>
                <a:ea typeface="나눔고딕" panose="020D0604000000000000" pitchFamily="50" charset="-127"/>
              </a:rPr>
              <a:t>단위</a:t>
            </a:r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latin typeface="나눔고딕" panose="020D0604000000000000" pitchFamily="50" charset="-127"/>
                <a:ea typeface="나눔고딕" panose="020D0604000000000000" pitchFamily="50" charset="-127"/>
              </a:rPr>
              <a:t>천</a:t>
            </a:r>
            <a:r>
              <a:rPr lang="en-US" altLang="ko-KR" sz="800" err="1">
                <a:latin typeface="나눔고딕" panose="020D0604000000000000" pitchFamily="50" charset="-127"/>
                <a:ea typeface="나눔고딕" panose="020D0604000000000000" pitchFamily="50" charset="-127"/>
              </a:rPr>
              <a:t>Gcal</a:t>
            </a:r>
            <a:r>
              <a:rPr lang="en-US" altLang="ko-KR" sz="80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ko-KR" altLang="en-US" sz="80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D6F9994-ED34-09F9-B4F1-234791A01080}"/>
              </a:ext>
            </a:extLst>
          </p:cNvPr>
          <p:cNvSpPr txBox="1"/>
          <p:nvPr/>
        </p:nvSpPr>
        <p:spPr>
          <a:xfrm>
            <a:off x="7336999" y="442946"/>
            <a:ext cx="2006839" cy="492443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`21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형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급 시작 시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(SKIPC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인천연료전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Wingdings" panose="05000000000000000000" pitchFamily="2" charset="2"/>
              </a:rPr>
              <a:t>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운전 물량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defTabSz="623888">
              <a:tabLst>
                <a:tab pos="298450" algn="l"/>
              </a:tabLst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`24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형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열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급 본격화 및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/>
            </a:r>
            <a:b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</a:b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도시가스 연료전지 물량 포함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CD6F9994-ED34-09F9-B4F1-234791A01080}"/>
              </a:ext>
            </a:extLst>
          </p:cNvPr>
          <p:cNvSpPr txBox="1"/>
          <p:nvPr/>
        </p:nvSpPr>
        <p:spPr>
          <a:xfrm>
            <a:off x="6176865" y="4312846"/>
            <a:ext cx="2006839" cy="180246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증자시점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: `26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,738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9DDE02C-B6E4-FC9F-D79C-C29CC5A8DE58}"/>
              </a:ext>
            </a:extLst>
          </p:cNvPr>
          <p:cNvSpPr txBox="1"/>
          <p:nvPr/>
        </p:nvSpPr>
        <p:spPr>
          <a:xfrm>
            <a:off x="4100919" y="1125522"/>
            <a:ext cx="2211347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defTabSz="304800">
              <a:defRPr kumimoji="0" sz="800" b="0" i="0" u="none" strike="noStrike" cap="none" spc="0" normalizeH="0" baseline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defRPr>
            </a:lvl1pPr>
          </a:lstStyle>
          <a:p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송도 소각장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3</a:t>
            </a:r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호기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r>
              <a:rPr lang="ko-KR" altLang="en-US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20G/h</a:t>
            </a:r>
          </a:p>
          <a:p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타 소각장</a:t>
            </a:r>
            <a:r>
              <a:rPr lang="en-US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​</a:t>
            </a:r>
          </a:p>
          <a:p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 - 중구/동구 소각장: </a:t>
            </a:r>
            <a:r>
              <a:rPr lang="ko-KR" altLang="ko-KR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입지선정전</a:t>
            </a:r>
            <a:r>
              <a:rPr lang="ko-KR" altLang="ko-KR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단계(영종도 후보)</a:t>
            </a:r>
            <a:endParaRPr lang="en-US" altLang="ko-KR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F4C1D2D-1533-D31A-B514-E71DEB8FEB50}"/>
              </a:ext>
            </a:extLst>
          </p:cNvPr>
          <p:cNvSpPr txBox="1"/>
          <p:nvPr/>
        </p:nvSpPr>
        <p:spPr>
          <a:xfrm>
            <a:off x="4100918" y="846870"/>
            <a:ext cx="2006839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>
            <a:defPPr>
              <a:defRPr lang="ko-KR"/>
            </a:defPPr>
            <a:lvl1pPr defTabSz="304800">
              <a:defRPr kumimoji="0" sz="800" b="1" i="0" u="none" strike="noStrike" cap="none" spc="0" normalizeH="0" baseline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defRPr>
            </a:lvl1pPr>
          </a:lstStyle>
          <a:p>
            <a:r>
              <a:rPr lang="ko-KR" altLang="en-US" b="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쌍용건설</a:t>
            </a:r>
            <a:r>
              <a:rPr lang="ko-KR" altLang="en-US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연료전지 </a:t>
            </a:r>
            <a:r>
              <a:rPr lang="en-US" altLang="ko-KR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G/h</a:t>
            </a:r>
          </a:p>
          <a:p>
            <a:r>
              <a:rPr lang="ko-KR" altLang="en-US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드림라인 연료전지 </a:t>
            </a:r>
            <a:r>
              <a:rPr lang="en-US" altLang="ko-KR" b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6G/h</a:t>
            </a:r>
          </a:p>
        </p:txBody>
      </p:sp>
    </p:spTree>
    <p:extLst>
      <p:ext uri="{BB962C8B-B14F-4D97-AF65-F5344CB8AC3E}">
        <p14:creationId xmlns:p14="http://schemas.microsoft.com/office/powerpoint/2010/main" val="3872115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S">
  <a:themeElements>
    <a:clrScheme name="사용자 지정 1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0_전략기획실_서식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디자인 사용자 지정">
      <a:majorFont>
        <a:latin typeface="Arial Black"/>
        <a:ea typeface="휴먼둥근헤드라인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7dfad6-22e3-457f-a69c-c119f0c0187a">
      <Terms xmlns="http://schemas.microsoft.com/office/infopath/2007/PartnerControls"/>
    </lcf76f155ced4ddcb4097134ff3c332f>
    <TaxCatchAll xmlns="aeead22d-ce5d-4b35-9e3b-a2f4a8d7da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1ADAC136B29F444AA5698056453CA0B" ma:contentTypeVersion="9" ma:contentTypeDescription="새 문서를 만듭니다." ma:contentTypeScope="" ma:versionID="9309d02ca83f8e01efa5c8f08bf8e347">
  <xsd:schema xmlns:xsd="http://www.w3.org/2001/XMLSchema" xmlns:xs="http://www.w3.org/2001/XMLSchema" xmlns:p="http://schemas.microsoft.com/office/2006/metadata/properties" xmlns:ns2="3f7dfad6-22e3-457f-a69c-c119f0c0187a" xmlns:ns3="aeead22d-ce5d-4b35-9e3b-a2f4a8d7da34" targetNamespace="http://schemas.microsoft.com/office/2006/metadata/properties" ma:root="true" ma:fieldsID="34373261172b8be22a5fa3b855ad9689" ns2:_="" ns3:_="">
    <xsd:import namespace="3f7dfad6-22e3-457f-a69c-c119f0c0187a"/>
    <xsd:import namespace="aeead22d-ce5d-4b35-9e3b-a2f4a8d7da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7dfad6-22e3-457f-a69c-c119f0c01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이미지 태그" ma:readOnly="false" ma:fieldId="{5cf76f15-5ced-4ddc-b409-7134ff3c332f}" ma:taxonomyMulti="true" ma:sspId="4fa7ea9a-cfac-4c98-8919-1072f07f8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ad22d-ce5d-4b35-9e3b-a2f4a8d7da3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29cb6e6-47b0-4940-9295-4e89ad1faebf}" ma:internalName="TaxCatchAll" ma:showField="CatchAllData" ma:web="aeead22d-ce5d-4b35-9e3b-a2f4a8d7da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F209FC-7170-4340-975D-D4DEDB1D0958}">
  <ds:schemaRefs>
    <ds:schemaRef ds:uri="3f7dfad6-22e3-457f-a69c-c119f0c0187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eead22d-ce5d-4b35-9e3b-a2f4a8d7da3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1192CCC-D5FF-4B2E-9DE1-ED19BA507D82}">
  <ds:schemaRefs>
    <ds:schemaRef ds:uri="3f7dfad6-22e3-457f-a69c-c119f0c0187a"/>
    <ds:schemaRef ds:uri="aeead22d-ce5d-4b35-9e3b-a2f4a8d7da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0C17759-0287-4720-82D8-8CF5BABDF7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130</Words>
  <Application>Microsoft Office PowerPoint</Application>
  <PresentationFormat>A4 용지(210x297mm)</PresentationFormat>
  <Paragraphs>36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8" baseType="lpstr">
      <vt:lpstr>HY견고딕</vt:lpstr>
      <vt:lpstr>HY헤드라인M</vt:lpstr>
      <vt:lpstr>Noto Sans CJK KR Medium</vt:lpstr>
      <vt:lpstr>굴림</vt:lpstr>
      <vt:lpstr>나눔고딕</vt:lpstr>
      <vt:lpstr>맑은 고딕</vt:lpstr>
      <vt:lpstr>휴먼둥근헤드라인</vt:lpstr>
      <vt:lpstr>Arial</vt:lpstr>
      <vt:lpstr>Arial Black</vt:lpstr>
      <vt:lpstr>Tahoma</vt:lpstr>
      <vt:lpstr>Times New Roman</vt:lpstr>
      <vt:lpstr>Wingdings</vt:lpstr>
      <vt:lpstr>2_기본 디자인</vt:lpstr>
      <vt:lpstr>3_기본 디자인</vt:lpstr>
      <vt:lpstr>SS</vt:lpstr>
      <vt:lpstr>0_전략기획실_서식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희진/사원A/경영기획팀/INT</dc:creator>
  <cp:lastModifiedBy>user</cp:lastModifiedBy>
  <cp:revision>8</cp:revision>
  <cp:lastPrinted>2023-10-25T01:20:09Z</cp:lastPrinted>
  <dcterms:created xsi:type="dcterms:W3CDTF">2023-09-22T07:25:44Z</dcterms:created>
  <dcterms:modified xsi:type="dcterms:W3CDTF">2024-05-25T08:3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DAC136B29F444AA5698056453CA0B</vt:lpwstr>
  </property>
  <property fmtid="{D5CDD505-2E9C-101B-9397-08002B2CF9AE}" pid="3" name="MediaServiceImageTags">
    <vt:lpwstr/>
  </property>
</Properties>
</file>